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3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172825-21AC-49A6-B059-36D866722118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6098F5-77D1-4531-BB4A-406ABD36E3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3657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16431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875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20834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38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9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3563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8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62074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Freihandform: Form 19">
            <a:extLst>
              <a:ext uri="{FF2B5EF4-FFF2-40B4-BE49-F238E27FC236}">
                <a16:creationId xmlns:a16="http://schemas.microsoft.com/office/drawing/2014/main" id="{47D43691-CBB3-2E53-F96D-35FEEA36B647}"/>
              </a:ext>
            </a:extLst>
          </p:cNvPr>
          <p:cNvSpPr>
            <a:spLocks/>
          </p:cNvSpPr>
          <p:nvPr/>
        </p:nvSpPr>
        <p:spPr>
          <a:xfrm>
            <a:off x="2251144" y="3360414"/>
            <a:ext cx="1921269" cy="1663865"/>
          </a:xfrm>
          <a:custGeom>
            <a:avLst/>
            <a:gdLst>
              <a:gd name="connsiteX0" fmla="*/ 1921270 w 1921269"/>
              <a:gd name="connsiteY0" fmla="*/ 831933 h 1663865"/>
              <a:gd name="connsiteX1" fmla="*/ 1440870 w 1921269"/>
              <a:gd name="connsiteY1" fmla="*/ 1663865 h 1663865"/>
              <a:gd name="connsiteX2" fmla="*/ 480235 w 1921269"/>
              <a:gd name="connsiteY2" fmla="*/ 1663865 h 1663865"/>
              <a:gd name="connsiteX3" fmla="*/ 0 w 1921269"/>
              <a:gd name="connsiteY3" fmla="*/ 831933 h 1663865"/>
              <a:gd name="connsiteX4" fmla="*/ 480235 w 1921269"/>
              <a:gd name="connsiteY4" fmla="*/ 0 h 1663865"/>
              <a:gd name="connsiteX5" fmla="*/ 1440870 w 1921269"/>
              <a:gd name="connsiteY5" fmla="*/ 0 h 1663865"/>
              <a:gd name="connsiteX6" fmla="*/ 1587107 w 1921269"/>
              <a:gd name="connsiteY6" fmla="*/ 253269 h 1663865"/>
              <a:gd name="connsiteX7" fmla="*/ 1591739 w 1921269"/>
              <a:gd name="connsiteY7" fmla="*/ 261044 h 1663865"/>
              <a:gd name="connsiteX8" fmla="*/ 1696785 w 1921269"/>
              <a:gd name="connsiteY8" fmla="*/ 326057 h 1663865"/>
              <a:gd name="connsiteX9" fmla="*/ 1745090 w 1921269"/>
              <a:gd name="connsiteY9" fmla="*/ 247479 h 1663865"/>
              <a:gd name="connsiteX10" fmla="*/ 1840541 w 1921269"/>
              <a:gd name="connsiteY10" fmla="*/ 324899 h 1663865"/>
              <a:gd name="connsiteX11" fmla="*/ 1843023 w 1921269"/>
              <a:gd name="connsiteY11" fmla="*/ 329365 h 1663865"/>
              <a:gd name="connsiteX12" fmla="*/ 1860062 w 1921269"/>
              <a:gd name="connsiteY12" fmla="*/ 446322 h 1663865"/>
              <a:gd name="connsiteX13" fmla="*/ 1767919 w 1921269"/>
              <a:gd name="connsiteY13" fmla="*/ 448969 h 1663865"/>
              <a:gd name="connsiteX14" fmla="*/ 1775529 w 1921269"/>
              <a:gd name="connsiteY14" fmla="*/ 579656 h 1663865"/>
              <a:gd name="connsiteX15" fmla="*/ 1776687 w 1921269"/>
              <a:gd name="connsiteY15" fmla="*/ 581641 h 1663865"/>
              <a:gd name="connsiteX16" fmla="*/ 1921270 w 1921269"/>
              <a:gd name="connsiteY16" fmla="*/ 831933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1269" h="1663865">
                <a:moveTo>
                  <a:pt x="1921270" y="831933"/>
                </a:moveTo>
                <a:lnTo>
                  <a:pt x="1440870" y="1663865"/>
                </a:lnTo>
                <a:lnTo>
                  <a:pt x="480235" y="1663865"/>
                </a:lnTo>
                <a:lnTo>
                  <a:pt x="0" y="831933"/>
                </a:lnTo>
                <a:lnTo>
                  <a:pt x="480235" y="0"/>
                </a:lnTo>
                <a:lnTo>
                  <a:pt x="1440870" y="0"/>
                </a:lnTo>
                <a:lnTo>
                  <a:pt x="1587107" y="253269"/>
                </a:lnTo>
                <a:cubicBezTo>
                  <a:pt x="1588596" y="255916"/>
                  <a:pt x="1590250" y="258397"/>
                  <a:pt x="1591739" y="261044"/>
                </a:cubicBezTo>
                <a:cubicBezTo>
                  <a:pt x="1621020" y="308521"/>
                  <a:pt x="1660722" y="346901"/>
                  <a:pt x="1696785" y="326057"/>
                </a:cubicBezTo>
                <a:cubicBezTo>
                  <a:pt x="1734833" y="304055"/>
                  <a:pt x="1704064" y="271135"/>
                  <a:pt x="1745090" y="247479"/>
                </a:cubicBezTo>
                <a:cubicBezTo>
                  <a:pt x="1785950" y="223823"/>
                  <a:pt x="1840541" y="324899"/>
                  <a:pt x="1840541" y="324899"/>
                </a:cubicBezTo>
                <a:cubicBezTo>
                  <a:pt x="1840541" y="324899"/>
                  <a:pt x="1841368" y="326553"/>
                  <a:pt x="1843023" y="329365"/>
                </a:cubicBezTo>
                <a:cubicBezTo>
                  <a:pt x="1854272" y="348555"/>
                  <a:pt x="1895794" y="425644"/>
                  <a:pt x="1860062" y="446322"/>
                </a:cubicBezTo>
                <a:cubicBezTo>
                  <a:pt x="1819201" y="469978"/>
                  <a:pt x="1805967" y="426967"/>
                  <a:pt x="1767919" y="448969"/>
                </a:cubicBezTo>
                <a:cubicBezTo>
                  <a:pt x="1730367" y="470640"/>
                  <a:pt x="1746579" y="529036"/>
                  <a:pt x="1775529" y="579656"/>
                </a:cubicBezTo>
                <a:cubicBezTo>
                  <a:pt x="1775859" y="580318"/>
                  <a:pt x="1776356" y="580980"/>
                  <a:pt x="1776687" y="581641"/>
                </a:cubicBezTo>
                <a:lnTo>
                  <a:pt x="1921270" y="831933"/>
                </a:ln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ihandform: Form 20">
            <a:extLst>
              <a:ext uri="{FF2B5EF4-FFF2-40B4-BE49-F238E27FC236}">
                <a16:creationId xmlns:a16="http://schemas.microsoft.com/office/drawing/2014/main" id="{F86B79EF-E573-E788-D0B9-CB9EC4CCC736}"/>
              </a:ext>
            </a:extLst>
          </p:cNvPr>
          <p:cNvSpPr>
            <a:spLocks/>
          </p:cNvSpPr>
          <p:nvPr/>
        </p:nvSpPr>
        <p:spPr>
          <a:xfrm>
            <a:off x="3692014" y="2528482"/>
            <a:ext cx="1921435" cy="1663865"/>
          </a:xfrm>
          <a:custGeom>
            <a:avLst/>
            <a:gdLst>
              <a:gd name="connsiteX0" fmla="*/ 1775694 w 1921435"/>
              <a:gd name="connsiteY0" fmla="*/ 1084209 h 1663865"/>
              <a:gd name="connsiteX1" fmla="*/ 1768084 w 1921435"/>
              <a:gd name="connsiteY1" fmla="*/ 1214896 h 1663865"/>
              <a:gd name="connsiteX2" fmla="*/ 1860227 w 1921435"/>
              <a:gd name="connsiteY2" fmla="*/ 1217543 h 1663865"/>
              <a:gd name="connsiteX3" fmla="*/ 1843188 w 1921435"/>
              <a:gd name="connsiteY3" fmla="*/ 1334500 h 1663865"/>
              <a:gd name="connsiteX4" fmla="*/ 1840541 w 1921435"/>
              <a:gd name="connsiteY4" fmla="*/ 1338967 h 1663865"/>
              <a:gd name="connsiteX5" fmla="*/ 1745090 w 1921435"/>
              <a:gd name="connsiteY5" fmla="*/ 1416386 h 1663865"/>
              <a:gd name="connsiteX6" fmla="*/ 1696951 w 1921435"/>
              <a:gd name="connsiteY6" fmla="*/ 1337809 h 1663865"/>
              <a:gd name="connsiteX7" fmla="*/ 1591739 w 1921435"/>
              <a:gd name="connsiteY7" fmla="*/ 1402987 h 1663865"/>
              <a:gd name="connsiteX8" fmla="*/ 1587107 w 1921435"/>
              <a:gd name="connsiteY8" fmla="*/ 1410762 h 1663865"/>
              <a:gd name="connsiteX9" fmla="*/ 1441035 w 1921435"/>
              <a:gd name="connsiteY9" fmla="*/ 1663865 h 1663865"/>
              <a:gd name="connsiteX10" fmla="*/ 480400 w 1921435"/>
              <a:gd name="connsiteY10" fmla="*/ 1663865 h 1663865"/>
              <a:gd name="connsiteX11" fmla="*/ 335817 w 1921435"/>
              <a:gd name="connsiteY11" fmla="*/ 1413574 h 1663865"/>
              <a:gd name="connsiteX12" fmla="*/ 334659 w 1921435"/>
              <a:gd name="connsiteY12" fmla="*/ 1411589 h 1663865"/>
              <a:gd name="connsiteX13" fmla="*/ 327049 w 1921435"/>
              <a:gd name="connsiteY13" fmla="*/ 1280902 h 1663865"/>
              <a:gd name="connsiteX14" fmla="*/ 419192 w 1921435"/>
              <a:gd name="connsiteY14" fmla="*/ 1278255 h 1663865"/>
              <a:gd name="connsiteX15" fmla="*/ 402153 w 1921435"/>
              <a:gd name="connsiteY15" fmla="*/ 1161298 h 1663865"/>
              <a:gd name="connsiteX16" fmla="*/ 399672 w 1921435"/>
              <a:gd name="connsiteY16" fmla="*/ 1156831 h 1663865"/>
              <a:gd name="connsiteX17" fmla="*/ 304220 w 1921435"/>
              <a:gd name="connsiteY17" fmla="*/ 1079411 h 1663865"/>
              <a:gd name="connsiteX18" fmla="*/ 255916 w 1921435"/>
              <a:gd name="connsiteY18" fmla="*/ 1157989 h 1663865"/>
              <a:gd name="connsiteX19" fmla="*/ 150870 w 1921435"/>
              <a:gd name="connsiteY19" fmla="*/ 1092977 h 1663865"/>
              <a:gd name="connsiteX20" fmla="*/ 146237 w 1921435"/>
              <a:gd name="connsiteY20" fmla="*/ 1085201 h 1663865"/>
              <a:gd name="connsiteX21" fmla="*/ 0 w 1921435"/>
              <a:gd name="connsiteY21" fmla="*/ 831933 h 1663865"/>
              <a:gd name="connsiteX22" fmla="*/ 480400 w 1921435"/>
              <a:gd name="connsiteY22" fmla="*/ 0 h 1663865"/>
              <a:gd name="connsiteX23" fmla="*/ 1441035 w 1921435"/>
              <a:gd name="connsiteY23" fmla="*/ 0 h 1663865"/>
              <a:gd name="connsiteX24" fmla="*/ 1921435 w 1921435"/>
              <a:gd name="connsiteY24" fmla="*/ 831933 h 1663865"/>
              <a:gd name="connsiteX25" fmla="*/ 1921435 w 1921435"/>
              <a:gd name="connsiteY25" fmla="*/ 831933 h 1663865"/>
              <a:gd name="connsiteX26" fmla="*/ 1777017 w 1921435"/>
              <a:gd name="connsiteY26" fmla="*/ 1082224 h 1663865"/>
              <a:gd name="connsiteX27" fmla="*/ 1775859 w 1921435"/>
              <a:gd name="connsiteY27" fmla="*/ 1084209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921435" h="1663865">
                <a:moveTo>
                  <a:pt x="1775694" y="1084209"/>
                </a:moveTo>
                <a:cubicBezTo>
                  <a:pt x="1746744" y="1134830"/>
                  <a:pt x="1730532" y="1193225"/>
                  <a:pt x="1768084" y="1214896"/>
                </a:cubicBezTo>
                <a:cubicBezTo>
                  <a:pt x="1805967" y="1236898"/>
                  <a:pt x="1819201" y="1193887"/>
                  <a:pt x="1860227" y="1217543"/>
                </a:cubicBezTo>
                <a:cubicBezTo>
                  <a:pt x="1895959" y="1238221"/>
                  <a:pt x="1854272" y="1315310"/>
                  <a:pt x="1843188" y="1334500"/>
                </a:cubicBezTo>
                <a:cubicBezTo>
                  <a:pt x="1841534" y="1337312"/>
                  <a:pt x="1840541" y="1338967"/>
                  <a:pt x="1840541" y="1338967"/>
                </a:cubicBezTo>
                <a:cubicBezTo>
                  <a:pt x="1840541" y="1338967"/>
                  <a:pt x="1786116" y="1440042"/>
                  <a:pt x="1745090" y="1416386"/>
                </a:cubicBezTo>
                <a:cubicBezTo>
                  <a:pt x="1704229" y="1392730"/>
                  <a:pt x="1734833" y="1359810"/>
                  <a:pt x="1696951" y="1337809"/>
                </a:cubicBezTo>
                <a:cubicBezTo>
                  <a:pt x="1660888" y="1316965"/>
                  <a:pt x="1621020" y="1355344"/>
                  <a:pt x="1591739" y="1402987"/>
                </a:cubicBezTo>
                <a:cubicBezTo>
                  <a:pt x="1590250" y="1405634"/>
                  <a:pt x="1588596" y="1408115"/>
                  <a:pt x="1587107" y="1410762"/>
                </a:cubicBezTo>
                <a:lnTo>
                  <a:pt x="1441035" y="1663865"/>
                </a:lnTo>
                <a:lnTo>
                  <a:pt x="480400" y="1663865"/>
                </a:lnTo>
                <a:lnTo>
                  <a:pt x="335817" y="1413574"/>
                </a:lnTo>
                <a:cubicBezTo>
                  <a:pt x="335817" y="1413574"/>
                  <a:pt x="334990" y="1412251"/>
                  <a:pt x="334659" y="1411589"/>
                </a:cubicBezTo>
                <a:cubicBezTo>
                  <a:pt x="305709" y="1360968"/>
                  <a:pt x="289497" y="1302573"/>
                  <a:pt x="327049" y="1280902"/>
                </a:cubicBezTo>
                <a:cubicBezTo>
                  <a:pt x="365097" y="1258900"/>
                  <a:pt x="378332" y="1301911"/>
                  <a:pt x="419192" y="1278255"/>
                </a:cubicBezTo>
                <a:cubicBezTo>
                  <a:pt x="454924" y="1257576"/>
                  <a:pt x="413402" y="1180487"/>
                  <a:pt x="402153" y="1161298"/>
                </a:cubicBezTo>
                <a:cubicBezTo>
                  <a:pt x="400499" y="1158486"/>
                  <a:pt x="399672" y="1156831"/>
                  <a:pt x="399672" y="1156831"/>
                </a:cubicBezTo>
                <a:cubicBezTo>
                  <a:pt x="399672" y="1156831"/>
                  <a:pt x="345081" y="1055755"/>
                  <a:pt x="304220" y="1079411"/>
                </a:cubicBezTo>
                <a:cubicBezTo>
                  <a:pt x="263194" y="1103068"/>
                  <a:pt x="293964" y="1135988"/>
                  <a:pt x="255916" y="1157989"/>
                </a:cubicBezTo>
                <a:cubicBezTo>
                  <a:pt x="219853" y="1178833"/>
                  <a:pt x="180150" y="1140454"/>
                  <a:pt x="150870" y="1092977"/>
                </a:cubicBezTo>
                <a:cubicBezTo>
                  <a:pt x="149381" y="1090330"/>
                  <a:pt x="147726" y="1087848"/>
                  <a:pt x="146237" y="1085201"/>
                </a:cubicBezTo>
                <a:lnTo>
                  <a:pt x="0" y="831933"/>
                </a:lnTo>
                <a:lnTo>
                  <a:pt x="480400" y="0"/>
                </a:lnTo>
                <a:lnTo>
                  <a:pt x="1441035" y="0"/>
                </a:lnTo>
                <a:lnTo>
                  <a:pt x="1921435" y="831933"/>
                </a:lnTo>
                <a:lnTo>
                  <a:pt x="1921435" y="831933"/>
                </a:lnTo>
                <a:lnTo>
                  <a:pt x="1777017" y="1082224"/>
                </a:lnTo>
                <a:cubicBezTo>
                  <a:pt x="1777017" y="1082224"/>
                  <a:pt x="1776190" y="1083547"/>
                  <a:pt x="1775859" y="1084209"/>
                </a:cubicBez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ihandform: Form 21">
            <a:extLst>
              <a:ext uri="{FF2B5EF4-FFF2-40B4-BE49-F238E27FC236}">
                <a16:creationId xmlns:a16="http://schemas.microsoft.com/office/drawing/2014/main" id="{A5CD7B4F-06A7-C542-BDCE-F802D5ABDCD3}"/>
              </a:ext>
            </a:extLst>
          </p:cNvPr>
          <p:cNvSpPr>
            <a:spLocks/>
          </p:cNvSpPr>
          <p:nvPr/>
        </p:nvSpPr>
        <p:spPr>
          <a:xfrm>
            <a:off x="5133049" y="3360414"/>
            <a:ext cx="1921269" cy="1663865"/>
          </a:xfrm>
          <a:custGeom>
            <a:avLst/>
            <a:gdLst>
              <a:gd name="connsiteX0" fmla="*/ 1921270 w 1921269"/>
              <a:gd name="connsiteY0" fmla="*/ 831933 h 1663865"/>
              <a:gd name="connsiteX1" fmla="*/ 1441035 w 1921269"/>
              <a:gd name="connsiteY1" fmla="*/ 1663865 h 1663865"/>
              <a:gd name="connsiteX2" fmla="*/ 480235 w 1921269"/>
              <a:gd name="connsiteY2" fmla="*/ 1663865 h 1663865"/>
              <a:gd name="connsiteX3" fmla="*/ 0 w 1921269"/>
              <a:gd name="connsiteY3" fmla="*/ 831933 h 1663865"/>
              <a:gd name="connsiteX4" fmla="*/ 146072 w 1921269"/>
              <a:gd name="connsiteY4" fmla="*/ 578829 h 1663865"/>
              <a:gd name="connsiteX5" fmla="*/ 150704 w 1921269"/>
              <a:gd name="connsiteY5" fmla="*/ 571054 h 1663865"/>
              <a:gd name="connsiteX6" fmla="*/ 255916 w 1921269"/>
              <a:gd name="connsiteY6" fmla="*/ 505876 h 1663865"/>
              <a:gd name="connsiteX7" fmla="*/ 304055 w 1921269"/>
              <a:gd name="connsiteY7" fmla="*/ 584454 h 1663865"/>
              <a:gd name="connsiteX8" fmla="*/ 399506 w 1921269"/>
              <a:gd name="connsiteY8" fmla="*/ 507034 h 1663865"/>
              <a:gd name="connsiteX9" fmla="*/ 402153 w 1921269"/>
              <a:gd name="connsiteY9" fmla="*/ 502567 h 1663865"/>
              <a:gd name="connsiteX10" fmla="*/ 419192 w 1921269"/>
              <a:gd name="connsiteY10" fmla="*/ 385610 h 1663865"/>
              <a:gd name="connsiteX11" fmla="*/ 327049 w 1921269"/>
              <a:gd name="connsiteY11" fmla="*/ 382964 h 1663865"/>
              <a:gd name="connsiteX12" fmla="*/ 334659 w 1921269"/>
              <a:gd name="connsiteY12" fmla="*/ 252276 h 1663865"/>
              <a:gd name="connsiteX13" fmla="*/ 335817 w 1921269"/>
              <a:gd name="connsiteY13" fmla="*/ 250291 h 1663865"/>
              <a:gd name="connsiteX14" fmla="*/ 480400 w 1921269"/>
              <a:gd name="connsiteY14" fmla="*/ 0 h 1663865"/>
              <a:gd name="connsiteX15" fmla="*/ 1440870 w 1921269"/>
              <a:gd name="connsiteY15" fmla="*/ 0 h 1663865"/>
              <a:gd name="connsiteX16" fmla="*/ 1576685 w 1921269"/>
              <a:gd name="connsiteY16" fmla="*/ 235072 h 1663865"/>
              <a:gd name="connsiteX17" fmla="*/ 1587107 w 1921269"/>
              <a:gd name="connsiteY17" fmla="*/ 253269 h 1663865"/>
              <a:gd name="connsiteX18" fmla="*/ 1591739 w 1921269"/>
              <a:gd name="connsiteY18" fmla="*/ 261044 h 1663865"/>
              <a:gd name="connsiteX19" fmla="*/ 1696785 w 1921269"/>
              <a:gd name="connsiteY19" fmla="*/ 326057 h 1663865"/>
              <a:gd name="connsiteX20" fmla="*/ 1744924 w 1921269"/>
              <a:gd name="connsiteY20" fmla="*/ 247479 h 1663865"/>
              <a:gd name="connsiteX21" fmla="*/ 1840541 w 1921269"/>
              <a:gd name="connsiteY21" fmla="*/ 324899 h 1663865"/>
              <a:gd name="connsiteX22" fmla="*/ 1843023 w 1921269"/>
              <a:gd name="connsiteY22" fmla="*/ 329365 h 1663865"/>
              <a:gd name="connsiteX23" fmla="*/ 1860062 w 1921269"/>
              <a:gd name="connsiteY23" fmla="*/ 446322 h 1663865"/>
              <a:gd name="connsiteX24" fmla="*/ 1767919 w 1921269"/>
              <a:gd name="connsiteY24" fmla="*/ 448969 h 1663865"/>
              <a:gd name="connsiteX25" fmla="*/ 1774536 w 1921269"/>
              <a:gd name="connsiteY25" fmla="*/ 577837 h 1663865"/>
              <a:gd name="connsiteX26" fmla="*/ 1776687 w 1921269"/>
              <a:gd name="connsiteY26" fmla="*/ 581641 h 1663865"/>
              <a:gd name="connsiteX27" fmla="*/ 1921270 w 1921269"/>
              <a:gd name="connsiteY27" fmla="*/ 831933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921269" h="1663865">
                <a:moveTo>
                  <a:pt x="1921270" y="831933"/>
                </a:moveTo>
                <a:lnTo>
                  <a:pt x="1441035" y="1663865"/>
                </a:lnTo>
                <a:lnTo>
                  <a:pt x="480235" y="1663865"/>
                </a:lnTo>
                <a:lnTo>
                  <a:pt x="0" y="831933"/>
                </a:lnTo>
                <a:lnTo>
                  <a:pt x="146072" y="578829"/>
                </a:lnTo>
                <a:cubicBezTo>
                  <a:pt x="147561" y="576182"/>
                  <a:pt x="149215" y="573701"/>
                  <a:pt x="150704" y="571054"/>
                </a:cubicBezTo>
                <a:cubicBezTo>
                  <a:pt x="179985" y="523411"/>
                  <a:pt x="219853" y="485032"/>
                  <a:pt x="255916" y="505876"/>
                </a:cubicBezTo>
                <a:cubicBezTo>
                  <a:pt x="293799" y="527878"/>
                  <a:pt x="263194" y="560798"/>
                  <a:pt x="304055" y="584454"/>
                </a:cubicBezTo>
                <a:cubicBezTo>
                  <a:pt x="345081" y="608110"/>
                  <a:pt x="399506" y="507034"/>
                  <a:pt x="399506" y="507034"/>
                </a:cubicBezTo>
                <a:cubicBezTo>
                  <a:pt x="399506" y="507034"/>
                  <a:pt x="400499" y="505380"/>
                  <a:pt x="402153" y="502567"/>
                </a:cubicBezTo>
                <a:cubicBezTo>
                  <a:pt x="413237" y="483378"/>
                  <a:pt x="454924" y="406289"/>
                  <a:pt x="419192" y="385610"/>
                </a:cubicBezTo>
                <a:cubicBezTo>
                  <a:pt x="378166" y="361954"/>
                  <a:pt x="364932" y="404965"/>
                  <a:pt x="327049" y="382964"/>
                </a:cubicBezTo>
                <a:cubicBezTo>
                  <a:pt x="289497" y="361293"/>
                  <a:pt x="305709" y="302897"/>
                  <a:pt x="334659" y="252276"/>
                </a:cubicBezTo>
                <a:cubicBezTo>
                  <a:pt x="334990" y="251615"/>
                  <a:pt x="335486" y="250953"/>
                  <a:pt x="335817" y="250291"/>
                </a:cubicBezTo>
                <a:lnTo>
                  <a:pt x="480400" y="0"/>
                </a:lnTo>
                <a:lnTo>
                  <a:pt x="1440870" y="0"/>
                </a:lnTo>
                <a:lnTo>
                  <a:pt x="1576685" y="235072"/>
                </a:lnTo>
                <a:lnTo>
                  <a:pt x="1587107" y="253269"/>
                </a:lnTo>
                <a:cubicBezTo>
                  <a:pt x="1588596" y="255916"/>
                  <a:pt x="1590085" y="258397"/>
                  <a:pt x="1591739" y="261044"/>
                </a:cubicBezTo>
                <a:cubicBezTo>
                  <a:pt x="1620854" y="308521"/>
                  <a:pt x="1660722" y="346901"/>
                  <a:pt x="1696785" y="326057"/>
                </a:cubicBezTo>
                <a:cubicBezTo>
                  <a:pt x="1734668" y="304055"/>
                  <a:pt x="1704064" y="271135"/>
                  <a:pt x="1744924" y="247479"/>
                </a:cubicBezTo>
                <a:cubicBezTo>
                  <a:pt x="1785950" y="223823"/>
                  <a:pt x="1840541" y="324899"/>
                  <a:pt x="1840541" y="324899"/>
                </a:cubicBezTo>
                <a:cubicBezTo>
                  <a:pt x="1840541" y="324899"/>
                  <a:pt x="1841369" y="326553"/>
                  <a:pt x="1843023" y="329365"/>
                </a:cubicBezTo>
                <a:cubicBezTo>
                  <a:pt x="1854106" y="348555"/>
                  <a:pt x="1895794" y="425644"/>
                  <a:pt x="1860062" y="446322"/>
                </a:cubicBezTo>
                <a:cubicBezTo>
                  <a:pt x="1819201" y="469978"/>
                  <a:pt x="1805967" y="426967"/>
                  <a:pt x="1767919" y="448969"/>
                </a:cubicBezTo>
                <a:cubicBezTo>
                  <a:pt x="1730864" y="470475"/>
                  <a:pt x="1746248" y="527547"/>
                  <a:pt x="1774536" y="577837"/>
                </a:cubicBezTo>
                <a:cubicBezTo>
                  <a:pt x="1775198" y="579160"/>
                  <a:pt x="1776025" y="580318"/>
                  <a:pt x="1776687" y="581641"/>
                </a:cubicBezTo>
                <a:lnTo>
                  <a:pt x="1921270" y="831933"/>
                </a:ln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ihandform: Form 22">
            <a:extLst>
              <a:ext uri="{FF2B5EF4-FFF2-40B4-BE49-F238E27FC236}">
                <a16:creationId xmlns:a16="http://schemas.microsoft.com/office/drawing/2014/main" id="{67A4DBC2-3BA3-1FD4-1776-BCC31D41EC7F}"/>
              </a:ext>
            </a:extLst>
          </p:cNvPr>
          <p:cNvSpPr>
            <a:spLocks/>
          </p:cNvSpPr>
          <p:nvPr/>
        </p:nvSpPr>
        <p:spPr>
          <a:xfrm>
            <a:off x="6574084" y="2528482"/>
            <a:ext cx="1921269" cy="1663865"/>
          </a:xfrm>
          <a:custGeom>
            <a:avLst/>
            <a:gdLst>
              <a:gd name="connsiteX0" fmla="*/ 1843023 w 1921269"/>
              <a:gd name="connsiteY0" fmla="*/ 1334500 h 1663865"/>
              <a:gd name="connsiteX1" fmla="*/ 1840541 w 1921269"/>
              <a:gd name="connsiteY1" fmla="*/ 1338967 h 1663865"/>
              <a:gd name="connsiteX2" fmla="*/ 1744925 w 1921269"/>
              <a:gd name="connsiteY2" fmla="*/ 1416386 h 1663865"/>
              <a:gd name="connsiteX3" fmla="*/ 1696785 w 1921269"/>
              <a:gd name="connsiteY3" fmla="*/ 1337809 h 1663865"/>
              <a:gd name="connsiteX4" fmla="*/ 1591573 w 1921269"/>
              <a:gd name="connsiteY4" fmla="*/ 1402987 h 1663865"/>
              <a:gd name="connsiteX5" fmla="*/ 1586942 w 1921269"/>
              <a:gd name="connsiteY5" fmla="*/ 1410762 h 1663865"/>
              <a:gd name="connsiteX6" fmla="*/ 1440870 w 1921269"/>
              <a:gd name="connsiteY6" fmla="*/ 1663865 h 1663865"/>
              <a:gd name="connsiteX7" fmla="*/ 480235 w 1921269"/>
              <a:gd name="connsiteY7" fmla="*/ 1663865 h 1663865"/>
              <a:gd name="connsiteX8" fmla="*/ 335652 w 1921269"/>
              <a:gd name="connsiteY8" fmla="*/ 1413574 h 1663865"/>
              <a:gd name="connsiteX9" fmla="*/ 333501 w 1921269"/>
              <a:gd name="connsiteY9" fmla="*/ 1409769 h 1663865"/>
              <a:gd name="connsiteX10" fmla="*/ 326884 w 1921269"/>
              <a:gd name="connsiteY10" fmla="*/ 1280902 h 1663865"/>
              <a:gd name="connsiteX11" fmla="*/ 419027 w 1921269"/>
              <a:gd name="connsiteY11" fmla="*/ 1278255 h 1663865"/>
              <a:gd name="connsiteX12" fmla="*/ 401988 w 1921269"/>
              <a:gd name="connsiteY12" fmla="*/ 1161298 h 1663865"/>
              <a:gd name="connsiteX13" fmla="*/ 399506 w 1921269"/>
              <a:gd name="connsiteY13" fmla="*/ 1156831 h 1663865"/>
              <a:gd name="connsiteX14" fmla="*/ 303889 w 1921269"/>
              <a:gd name="connsiteY14" fmla="*/ 1079411 h 1663865"/>
              <a:gd name="connsiteX15" fmla="*/ 255750 w 1921269"/>
              <a:gd name="connsiteY15" fmla="*/ 1157989 h 1663865"/>
              <a:gd name="connsiteX16" fmla="*/ 150704 w 1921269"/>
              <a:gd name="connsiteY16" fmla="*/ 1092977 h 1663865"/>
              <a:gd name="connsiteX17" fmla="*/ 146072 w 1921269"/>
              <a:gd name="connsiteY17" fmla="*/ 1085201 h 1663865"/>
              <a:gd name="connsiteX18" fmla="*/ 135650 w 1921269"/>
              <a:gd name="connsiteY18" fmla="*/ 1067004 h 1663865"/>
              <a:gd name="connsiteX19" fmla="*/ 0 w 1921269"/>
              <a:gd name="connsiteY19" fmla="*/ 831933 h 1663865"/>
              <a:gd name="connsiteX20" fmla="*/ 0 w 1921269"/>
              <a:gd name="connsiteY20" fmla="*/ 831933 h 1663865"/>
              <a:gd name="connsiteX21" fmla="*/ 480235 w 1921269"/>
              <a:gd name="connsiteY21" fmla="*/ 0 h 1663865"/>
              <a:gd name="connsiteX22" fmla="*/ 1440870 w 1921269"/>
              <a:gd name="connsiteY22" fmla="*/ 0 h 1663865"/>
              <a:gd name="connsiteX23" fmla="*/ 1921270 w 1921269"/>
              <a:gd name="connsiteY23" fmla="*/ 831933 h 1663865"/>
              <a:gd name="connsiteX24" fmla="*/ 1776686 w 1921269"/>
              <a:gd name="connsiteY24" fmla="*/ 1082224 h 1663865"/>
              <a:gd name="connsiteX25" fmla="*/ 1775529 w 1921269"/>
              <a:gd name="connsiteY25" fmla="*/ 1084209 h 1663865"/>
              <a:gd name="connsiteX26" fmla="*/ 1767919 w 1921269"/>
              <a:gd name="connsiteY26" fmla="*/ 1214896 h 1663865"/>
              <a:gd name="connsiteX27" fmla="*/ 1860062 w 1921269"/>
              <a:gd name="connsiteY27" fmla="*/ 1217543 h 1663865"/>
              <a:gd name="connsiteX28" fmla="*/ 1843023 w 1921269"/>
              <a:gd name="connsiteY28" fmla="*/ 1334500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921269" h="1663865">
                <a:moveTo>
                  <a:pt x="1843023" y="1334500"/>
                </a:moveTo>
                <a:cubicBezTo>
                  <a:pt x="1841368" y="1337312"/>
                  <a:pt x="1840541" y="1338967"/>
                  <a:pt x="1840541" y="1338967"/>
                </a:cubicBezTo>
                <a:cubicBezTo>
                  <a:pt x="1840541" y="1338967"/>
                  <a:pt x="1785950" y="1440042"/>
                  <a:pt x="1744925" y="1416386"/>
                </a:cubicBezTo>
                <a:cubicBezTo>
                  <a:pt x="1704064" y="1392730"/>
                  <a:pt x="1734668" y="1359810"/>
                  <a:pt x="1696785" y="1337809"/>
                </a:cubicBezTo>
                <a:cubicBezTo>
                  <a:pt x="1660722" y="1316965"/>
                  <a:pt x="1620854" y="1355344"/>
                  <a:pt x="1591573" y="1402987"/>
                </a:cubicBezTo>
                <a:cubicBezTo>
                  <a:pt x="1590085" y="1405634"/>
                  <a:pt x="1588431" y="1408115"/>
                  <a:pt x="1586942" y="1410762"/>
                </a:cubicBezTo>
                <a:lnTo>
                  <a:pt x="1440870" y="1663865"/>
                </a:lnTo>
                <a:lnTo>
                  <a:pt x="480235" y="1663865"/>
                </a:lnTo>
                <a:lnTo>
                  <a:pt x="335652" y="1413574"/>
                </a:lnTo>
                <a:cubicBezTo>
                  <a:pt x="334990" y="1412251"/>
                  <a:pt x="334163" y="1411093"/>
                  <a:pt x="333501" y="1409769"/>
                </a:cubicBezTo>
                <a:cubicBezTo>
                  <a:pt x="305213" y="1359479"/>
                  <a:pt x="289829" y="1302407"/>
                  <a:pt x="326884" y="1280902"/>
                </a:cubicBezTo>
                <a:cubicBezTo>
                  <a:pt x="364932" y="1258900"/>
                  <a:pt x="378166" y="1301911"/>
                  <a:pt x="419027" y="1278255"/>
                </a:cubicBezTo>
                <a:cubicBezTo>
                  <a:pt x="454759" y="1257576"/>
                  <a:pt x="413071" y="1180487"/>
                  <a:pt x="401988" y="1161298"/>
                </a:cubicBezTo>
                <a:cubicBezTo>
                  <a:pt x="400334" y="1158486"/>
                  <a:pt x="399506" y="1156831"/>
                  <a:pt x="399506" y="1156831"/>
                </a:cubicBezTo>
                <a:cubicBezTo>
                  <a:pt x="399506" y="1156831"/>
                  <a:pt x="344915" y="1055755"/>
                  <a:pt x="303889" y="1079411"/>
                </a:cubicBezTo>
                <a:cubicBezTo>
                  <a:pt x="263029" y="1103068"/>
                  <a:pt x="293633" y="1135988"/>
                  <a:pt x="255750" y="1157989"/>
                </a:cubicBezTo>
                <a:cubicBezTo>
                  <a:pt x="219687" y="1178833"/>
                  <a:pt x="179819" y="1140454"/>
                  <a:pt x="150704" y="1092977"/>
                </a:cubicBezTo>
                <a:cubicBezTo>
                  <a:pt x="149050" y="1090330"/>
                  <a:pt x="147561" y="1087848"/>
                  <a:pt x="146072" y="1085201"/>
                </a:cubicBezTo>
                <a:lnTo>
                  <a:pt x="135650" y="1067004"/>
                </a:lnTo>
                <a:lnTo>
                  <a:pt x="0" y="831933"/>
                </a:lnTo>
                <a:lnTo>
                  <a:pt x="0" y="831933"/>
                </a:lnTo>
                <a:lnTo>
                  <a:pt x="480235" y="0"/>
                </a:lnTo>
                <a:lnTo>
                  <a:pt x="1440870" y="0"/>
                </a:lnTo>
                <a:lnTo>
                  <a:pt x="1921270" y="831933"/>
                </a:lnTo>
                <a:lnTo>
                  <a:pt x="1776686" y="1082224"/>
                </a:lnTo>
                <a:cubicBezTo>
                  <a:pt x="1776686" y="1082224"/>
                  <a:pt x="1775859" y="1083547"/>
                  <a:pt x="1775529" y="1084209"/>
                </a:cubicBezTo>
                <a:cubicBezTo>
                  <a:pt x="1746579" y="1134830"/>
                  <a:pt x="1730367" y="1193225"/>
                  <a:pt x="1767919" y="1214896"/>
                </a:cubicBezTo>
                <a:cubicBezTo>
                  <a:pt x="1805802" y="1236898"/>
                  <a:pt x="1819201" y="1193887"/>
                  <a:pt x="1860062" y="1217543"/>
                </a:cubicBezTo>
                <a:cubicBezTo>
                  <a:pt x="1895794" y="1238221"/>
                  <a:pt x="1854107" y="1315310"/>
                  <a:pt x="1843023" y="1334500"/>
                </a:cubicBez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ihandform: Form 23">
            <a:extLst>
              <a:ext uri="{FF2B5EF4-FFF2-40B4-BE49-F238E27FC236}">
                <a16:creationId xmlns:a16="http://schemas.microsoft.com/office/drawing/2014/main" id="{CC6EF35A-0E77-A342-37FE-62D46BC13C20}"/>
              </a:ext>
            </a:extLst>
          </p:cNvPr>
          <p:cNvSpPr>
            <a:spLocks/>
          </p:cNvSpPr>
          <p:nvPr/>
        </p:nvSpPr>
        <p:spPr>
          <a:xfrm>
            <a:off x="8014953" y="3360414"/>
            <a:ext cx="1921269" cy="1663865"/>
          </a:xfrm>
          <a:custGeom>
            <a:avLst/>
            <a:gdLst>
              <a:gd name="connsiteX0" fmla="*/ 1921270 w 1921269"/>
              <a:gd name="connsiteY0" fmla="*/ 831933 h 1663865"/>
              <a:gd name="connsiteX1" fmla="*/ 1441035 w 1921269"/>
              <a:gd name="connsiteY1" fmla="*/ 1663865 h 1663865"/>
              <a:gd name="connsiteX2" fmla="*/ 480400 w 1921269"/>
              <a:gd name="connsiteY2" fmla="*/ 1663865 h 1663865"/>
              <a:gd name="connsiteX3" fmla="*/ 0 w 1921269"/>
              <a:gd name="connsiteY3" fmla="*/ 831933 h 1663865"/>
              <a:gd name="connsiteX4" fmla="*/ 146072 w 1921269"/>
              <a:gd name="connsiteY4" fmla="*/ 578829 h 1663865"/>
              <a:gd name="connsiteX5" fmla="*/ 150704 w 1921269"/>
              <a:gd name="connsiteY5" fmla="*/ 571054 h 1663865"/>
              <a:gd name="connsiteX6" fmla="*/ 255916 w 1921269"/>
              <a:gd name="connsiteY6" fmla="*/ 505876 h 1663865"/>
              <a:gd name="connsiteX7" fmla="*/ 304055 w 1921269"/>
              <a:gd name="connsiteY7" fmla="*/ 584454 h 1663865"/>
              <a:gd name="connsiteX8" fmla="*/ 399672 w 1921269"/>
              <a:gd name="connsiteY8" fmla="*/ 507034 h 1663865"/>
              <a:gd name="connsiteX9" fmla="*/ 402153 w 1921269"/>
              <a:gd name="connsiteY9" fmla="*/ 502567 h 1663865"/>
              <a:gd name="connsiteX10" fmla="*/ 419192 w 1921269"/>
              <a:gd name="connsiteY10" fmla="*/ 385610 h 1663865"/>
              <a:gd name="connsiteX11" fmla="*/ 327049 w 1921269"/>
              <a:gd name="connsiteY11" fmla="*/ 382964 h 1663865"/>
              <a:gd name="connsiteX12" fmla="*/ 334659 w 1921269"/>
              <a:gd name="connsiteY12" fmla="*/ 252276 h 1663865"/>
              <a:gd name="connsiteX13" fmla="*/ 335817 w 1921269"/>
              <a:gd name="connsiteY13" fmla="*/ 250291 h 1663865"/>
              <a:gd name="connsiteX14" fmla="*/ 480400 w 1921269"/>
              <a:gd name="connsiteY14" fmla="*/ 0 h 1663865"/>
              <a:gd name="connsiteX15" fmla="*/ 1441035 w 1921269"/>
              <a:gd name="connsiteY15" fmla="*/ 0 h 1663865"/>
              <a:gd name="connsiteX16" fmla="*/ 1921270 w 1921269"/>
              <a:gd name="connsiteY16" fmla="*/ 831933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1269" h="1663865">
                <a:moveTo>
                  <a:pt x="1921270" y="831933"/>
                </a:moveTo>
                <a:lnTo>
                  <a:pt x="1441035" y="1663865"/>
                </a:lnTo>
                <a:lnTo>
                  <a:pt x="480400" y="1663865"/>
                </a:lnTo>
                <a:lnTo>
                  <a:pt x="0" y="831933"/>
                </a:lnTo>
                <a:lnTo>
                  <a:pt x="146072" y="578829"/>
                </a:lnTo>
                <a:cubicBezTo>
                  <a:pt x="147561" y="576182"/>
                  <a:pt x="149215" y="573701"/>
                  <a:pt x="150704" y="571054"/>
                </a:cubicBezTo>
                <a:cubicBezTo>
                  <a:pt x="179985" y="523411"/>
                  <a:pt x="219853" y="485032"/>
                  <a:pt x="255916" y="505876"/>
                </a:cubicBezTo>
                <a:cubicBezTo>
                  <a:pt x="293799" y="527878"/>
                  <a:pt x="263194" y="560798"/>
                  <a:pt x="304055" y="584454"/>
                </a:cubicBezTo>
                <a:cubicBezTo>
                  <a:pt x="345081" y="608110"/>
                  <a:pt x="399672" y="507034"/>
                  <a:pt x="399672" y="507034"/>
                </a:cubicBezTo>
                <a:cubicBezTo>
                  <a:pt x="399672" y="507034"/>
                  <a:pt x="400499" y="505380"/>
                  <a:pt x="402153" y="502567"/>
                </a:cubicBezTo>
                <a:cubicBezTo>
                  <a:pt x="413237" y="483378"/>
                  <a:pt x="454924" y="406289"/>
                  <a:pt x="419192" y="385610"/>
                </a:cubicBezTo>
                <a:cubicBezTo>
                  <a:pt x="378332" y="361954"/>
                  <a:pt x="364932" y="404965"/>
                  <a:pt x="327049" y="382964"/>
                </a:cubicBezTo>
                <a:cubicBezTo>
                  <a:pt x="289497" y="361293"/>
                  <a:pt x="305709" y="302897"/>
                  <a:pt x="334659" y="252276"/>
                </a:cubicBezTo>
                <a:cubicBezTo>
                  <a:pt x="334990" y="251615"/>
                  <a:pt x="335486" y="250953"/>
                  <a:pt x="335817" y="250291"/>
                </a:cubicBezTo>
                <a:lnTo>
                  <a:pt x="480400" y="0"/>
                </a:lnTo>
                <a:lnTo>
                  <a:pt x="1441035" y="0"/>
                </a:lnTo>
                <a:lnTo>
                  <a:pt x="1921270" y="831933"/>
                </a:ln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TextBox 41">
            <a:extLst>
              <a:ext uri="{FF2B5EF4-FFF2-40B4-BE49-F238E27FC236}">
                <a16:creationId xmlns:a16="http://schemas.microsoft.com/office/drawing/2014/main" id="{A5C2727F-EC9C-7C24-9D88-F469B6799427}"/>
              </a:ext>
            </a:extLst>
          </p:cNvPr>
          <p:cNvSpPr txBox="1">
            <a:spLocks/>
          </p:cNvSpPr>
          <p:nvPr/>
        </p:nvSpPr>
        <p:spPr>
          <a:xfrm>
            <a:off x="2926690" y="3747002"/>
            <a:ext cx="570176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A</a:t>
            </a:r>
          </a:p>
        </p:txBody>
      </p:sp>
      <p:sp>
        <p:nvSpPr>
          <p:cNvPr id="11" name="TextBox 42">
            <a:extLst>
              <a:ext uri="{FF2B5EF4-FFF2-40B4-BE49-F238E27FC236}">
                <a16:creationId xmlns:a16="http://schemas.microsoft.com/office/drawing/2014/main" id="{5C906830-52CE-0B84-7A17-2A183734253E}"/>
              </a:ext>
            </a:extLst>
          </p:cNvPr>
          <p:cNvSpPr txBox="1">
            <a:spLocks/>
          </p:cNvSpPr>
          <p:nvPr/>
        </p:nvSpPr>
        <p:spPr>
          <a:xfrm>
            <a:off x="4396462" y="2915070"/>
            <a:ext cx="512539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B</a:t>
            </a:r>
          </a:p>
        </p:txBody>
      </p:sp>
      <p:sp>
        <p:nvSpPr>
          <p:cNvPr id="12" name="TextBox 43">
            <a:extLst>
              <a:ext uri="{FF2B5EF4-FFF2-40B4-BE49-F238E27FC236}">
                <a16:creationId xmlns:a16="http://schemas.microsoft.com/office/drawing/2014/main" id="{99A33F83-F6FA-715C-1CC4-CAF27267FF1A}"/>
              </a:ext>
            </a:extLst>
          </p:cNvPr>
          <p:cNvSpPr txBox="1">
            <a:spLocks/>
          </p:cNvSpPr>
          <p:nvPr/>
        </p:nvSpPr>
        <p:spPr>
          <a:xfrm>
            <a:off x="5811407" y="3747002"/>
            <a:ext cx="564553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C</a:t>
            </a:r>
          </a:p>
        </p:txBody>
      </p:sp>
      <p:sp>
        <p:nvSpPr>
          <p:cNvPr id="13" name="TextBox 44">
            <a:extLst>
              <a:ext uri="{FF2B5EF4-FFF2-40B4-BE49-F238E27FC236}">
                <a16:creationId xmlns:a16="http://schemas.microsoft.com/office/drawing/2014/main" id="{12452061-0695-AE01-170C-5D069ADAED0C}"/>
              </a:ext>
            </a:extLst>
          </p:cNvPr>
          <p:cNvSpPr txBox="1">
            <a:spLocks/>
          </p:cNvSpPr>
          <p:nvPr/>
        </p:nvSpPr>
        <p:spPr>
          <a:xfrm>
            <a:off x="7234167" y="2915070"/>
            <a:ext cx="601102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D</a:t>
            </a:r>
          </a:p>
        </p:txBody>
      </p:sp>
      <p:sp>
        <p:nvSpPr>
          <p:cNvPr id="14" name="TextBox 45">
            <a:extLst>
              <a:ext uri="{FF2B5EF4-FFF2-40B4-BE49-F238E27FC236}">
                <a16:creationId xmlns:a16="http://schemas.microsoft.com/office/drawing/2014/main" id="{79E536C2-8E5F-E568-FF9A-B953A78DD981}"/>
              </a:ext>
            </a:extLst>
          </p:cNvPr>
          <p:cNvSpPr txBox="1">
            <a:spLocks/>
          </p:cNvSpPr>
          <p:nvPr/>
        </p:nvSpPr>
        <p:spPr>
          <a:xfrm>
            <a:off x="8728455" y="3747002"/>
            <a:ext cx="494265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E</a:t>
            </a:r>
          </a:p>
        </p:txBody>
      </p:sp>
      <p:sp>
        <p:nvSpPr>
          <p:cNvPr id="15" name="Textfeld 29">
            <a:extLst>
              <a:ext uri="{FF2B5EF4-FFF2-40B4-BE49-F238E27FC236}">
                <a16:creationId xmlns:a16="http://schemas.microsoft.com/office/drawing/2014/main" id="{F0CB8C22-1222-0AE5-0659-A1BA21549F7D}"/>
              </a:ext>
            </a:extLst>
          </p:cNvPr>
          <p:cNvSpPr txBox="1">
            <a:spLocks/>
          </p:cNvSpPr>
          <p:nvPr/>
        </p:nvSpPr>
        <p:spPr>
          <a:xfrm>
            <a:off x="2416211" y="1791484"/>
            <a:ext cx="1591136" cy="723275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content,max_token=20}</a:t>
            </a:r>
          </a:p>
        </p:txBody>
      </p:sp>
      <p:sp>
        <p:nvSpPr>
          <p:cNvPr id="16" name="Textfeld 30">
            <a:extLst>
              <a:ext uri="{FF2B5EF4-FFF2-40B4-BE49-F238E27FC236}">
                <a16:creationId xmlns:a16="http://schemas.microsoft.com/office/drawing/2014/main" id="{42F61BC9-B915-BB8C-7220-A96A8D9C272E}"/>
              </a:ext>
            </a:extLst>
          </p:cNvPr>
          <p:cNvSpPr txBox="1">
            <a:spLocks/>
          </p:cNvSpPr>
          <p:nvPr/>
        </p:nvSpPr>
        <p:spPr>
          <a:xfrm>
            <a:off x="5298116" y="1791484"/>
            <a:ext cx="1591136" cy="723275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3}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3_content,max_token=20}</a:t>
            </a:r>
          </a:p>
        </p:txBody>
      </p:sp>
      <p:sp>
        <p:nvSpPr>
          <p:cNvPr id="17" name="Textfeld 31">
            <a:extLst>
              <a:ext uri="{FF2B5EF4-FFF2-40B4-BE49-F238E27FC236}">
                <a16:creationId xmlns:a16="http://schemas.microsoft.com/office/drawing/2014/main" id="{0C4F65C3-4932-0840-34CD-AF2AEBA6FA43}"/>
              </a:ext>
            </a:extLst>
          </p:cNvPr>
          <p:cNvSpPr txBox="1">
            <a:spLocks/>
          </p:cNvSpPr>
          <p:nvPr/>
        </p:nvSpPr>
        <p:spPr>
          <a:xfrm>
            <a:off x="8180020" y="1791484"/>
            <a:ext cx="1591136" cy="723275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5}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5_content,max_token=20}</a:t>
            </a:r>
          </a:p>
        </p:txBody>
      </p:sp>
      <p:sp>
        <p:nvSpPr>
          <p:cNvPr id="18" name="Textfeld 32">
            <a:extLst>
              <a:ext uri="{FF2B5EF4-FFF2-40B4-BE49-F238E27FC236}">
                <a16:creationId xmlns:a16="http://schemas.microsoft.com/office/drawing/2014/main" id="{02462E43-05CF-B166-CEDE-396FA7C5BE28}"/>
              </a:ext>
            </a:extLst>
          </p:cNvPr>
          <p:cNvSpPr txBox="1">
            <a:spLocks/>
          </p:cNvSpPr>
          <p:nvPr/>
        </p:nvSpPr>
        <p:spPr>
          <a:xfrm>
            <a:off x="3857164" y="5052963"/>
            <a:ext cx="1591136" cy="7232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}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2_content,max_token=20}</a:t>
            </a:r>
          </a:p>
        </p:txBody>
      </p:sp>
      <p:sp>
        <p:nvSpPr>
          <p:cNvPr id="19" name="Textfeld 33">
            <a:extLst>
              <a:ext uri="{FF2B5EF4-FFF2-40B4-BE49-F238E27FC236}">
                <a16:creationId xmlns:a16="http://schemas.microsoft.com/office/drawing/2014/main" id="{C8A81F53-7E5C-99DE-E668-3A5EC0783F73}"/>
              </a:ext>
            </a:extLst>
          </p:cNvPr>
          <p:cNvSpPr txBox="1">
            <a:spLocks/>
          </p:cNvSpPr>
          <p:nvPr/>
        </p:nvSpPr>
        <p:spPr>
          <a:xfrm>
            <a:off x="6739151" y="5052963"/>
            <a:ext cx="1591136" cy="7232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4}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4_content,max_token=20}</a:t>
            </a:r>
          </a:p>
        </p:txBody>
      </p:sp>
      <p:cxnSp>
        <p:nvCxnSpPr>
          <p:cNvPr id="20" name="Gerader Verbinder 36">
            <a:extLst>
              <a:ext uri="{FF2B5EF4-FFF2-40B4-BE49-F238E27FC236}">
                <a16:creationId xmlns:a16="http://schemas.microsoft.com/office/drawing/2014/main" id="{28085CFA-AF04-E001-B6CD-258DC0DDB579}"/>
              </a:ext>
            </a:extLst>
          </p:cNvPr>
          <p:cNvCxnSpPr>
            <a:cxnSpLocks/>
          </p:cNvCxnSpPr>
          <p:nvPr/>
        </p:nvCxnSpPr>
        <p:spPr>
          <a:xfrm flipV="1">
            <a:off x="6093683" y="2598420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38">
            <a:extLst>
              <a:ext uri="{FF2B5EF4-FFF2-40B4-BE49-F238E27FC236}">
                <a16:creationId xmlns:a16="http://schemas.microsoft.com/office/drawing/2014/main" id="{54AFAFB1-2FF6-FD19-62D2-E01FF7DE2B53}"/>
              </a:ext>
            </a:extLst>
          </p:cNvPr>
          <p:cNvCxnSpPr>
            <a:cxnSpLocks/>
          </p:cNvCxnSpPr>
          <p:nvPr/>
        </p:nvCxnSpPr>
        <p:spPr>
          <a:xfrm flipV="1">
            <a:off x="8975587" y="2598420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9">
            <a:extLst>
              <a:ext uri="{FF2B5EF4-FFF2-40B4-BE49-F238E27FC236}">
                <a16:creationId xmlns:a16="http://schemas.microsoft.com/office/drawing/2014/main" id="{D3DAC298-6AE6-CAA4-C0E7-B2F1F98562A4}"/>
              </a:ext>
            </a:extLst>
          </p:cNvPr>
          <p:cNvCxnSpPr>
            <a:cxnSpLocks/>
          </p:cNvCxnSpPr>
          <p:nvPr/>
        </p:nvCxnSpPr>
        <p:spPr>
          <a:xfrm flipV="1">
            <a:off x="3211778" y="2598420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40">
            <a:extLst>
              <a:ext uri="{FF2B5EF4-FFF2-40B4-BE49-F238E27FC236}">
                <a16:creationId xmlns:a16="http://schemas.microsoft.com/office/drawing/2014/main" id="{0104FD88-F1BC-ED06-5C1D-1F3BB1940D2D}"/>
              </a:ext>
            </a:extLst>
          </p:cNvPr>
          <p:cNvCxnSpPr>
            <a:cxnSpLocks/>
          </p:cNvCxnSpPr>
          <p:nvPr/>
        </p:nvCxnSpPr>
        <p:spPr>
          <a:xfrm flipV="1">
            <a:off x="7534718" y="4300379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42">
            <a:extLst>
              <a:ext uri="{FF2B5EF4-FFF2-40B4-BE49-F238E27FC236}">
                <a16:creationId xmlns:a16="http://schemas.microsoft.com/office/drawing/2014/main" id="{AFC7E7EE-84F1-F24B-341B-80FB7A9A958A}"/>
              </a:ext>
            </a:extLst>
          </p:cNvPr>
          <p:cNvCxnSpPr>
            <a:cxnSpLocks/>
          </p:cNvCxnSpPr>
          <p:nvPr/>
        </p:nvCxnSpPr>
        <p:spPr>
          <a:xfrm flipV="1">
            <a:off x="4652731" y="4300379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E66AFF73-5F19-7879-C980-33871006D9A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6439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puzzles</a:t>
            </a:r>
          </a:p>
        </p:txBody>
      </p:sp>
    </p:spTree>
    <p:extLst>
      <p:ext uri="{BB962C8B-B14F-4D97-AF65-F5344CB8AC3E}">
        <p14:creationId xmlns:p14="http://schemas.microsoft.com/office/powerpoint/2010/main" val="398570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01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Source Sans Pro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6:40:48Z</dcterms:created>
  <dcterms:modified xsi:type="dcterms:W3CDTF">2025-09-05T06:41:56Z</dcterms:modified>
</cp:coreProperties>
</file>